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  <p:sldId id="265" r:id="rId1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2" d="100"/>
          <a:sy n="82" d="100"/>
        </p:scale>
        <p:origin x="-72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71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5" y="6309320"/>
            <a:ext cx="1296143" cy="36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4/03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g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jpeg"/><Relationship Id="rId5" Type="http://schemas.openxmlformats.org/officeDocument/2006/relationships/image" Target="../media/image5.jpg"/><Relationship Id="rId4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5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2693899"/>
            <a:ext cx="2857500" cy="165735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693899"/>
            <a:ext cx="2857500" cy="1657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2693899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Santiago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284" y="5157192"/>
            <a:ext cx="2925366" cy="8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0246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17" name="Picture 14" descr="D:\Doc\ELDO\sant4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Un sit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marquab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u styl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solu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oder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qui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off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imprenab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b="1" i="0" u="none" strike="noStrike" dirty="0" err="1" smtClean="0">
                <a:solidFill>
                  <a:srgbClr val="6C6F70"/>
                </a:solidFill>
                <a:latin typeface="Calibri"/>
              </a:rPr>
              <a:t>falaises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o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igant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’î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omer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lec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historiq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put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Jet tours avec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aranti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service et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staur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Barcelo.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A 45 km de l’aéroport de </a:t>
            </a:r>
            <a:r>
              <a:rPr lang="fr-FR" sz="1400" b="1" i="1" u="none" strike="noStrike" dirty="0" err="1" smtClean="0">
                <a:solidFill>
                  <a:srgbClr val="6C6F70"/>
                </a:solidFill>
                <a:latin typeface="Calibri"/>
              </a:rPr>
              <a:t>Ténérife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 sud. A 2 km de </a:t>
            </a:r>
            <a:r>
              <a:rPr lang="fr-FR" sz="1400" b="1" i="1" u="none" strike="noStrike" dirty="0" err="1" smtClean="0">
                <a:solidFill>
                  <a:srgbClr val="6C6F70"/>
                </a:solidFill>
                <a:latin typeface="Calibri"/>
              </a:rPr>
              <a:t>Puerto</a:t>
            </a:r>
            <a:r>
              <a:rPr lang="fr-FR" sz="1400" b="1" i="1" u="none" strike="noStrike" dirty="0" smtClean="0">
                <a:solidFill>
                  <a:srgbClr val="6C6F70"/>
                </a:solidFill>
                <a:latin typeface="Calibri"/>
              </a:rPr>
              <a:t> de Santiago.</a:t>
            </a:r>
            <a:endParaRPr sz="1400" b="1" i="1" u="none" strike="noStrike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’hébergement que vous voulez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50000" lnSpcReduction="20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Les 406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9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esservi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scenseur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u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quip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ch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TV satellite, radio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minibar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participation)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A)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C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ffr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euv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ueilli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jusqu'à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l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anquette-lit)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pos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écess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h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/café, les peignoirs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usso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quadrup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ntag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d’un petit salon, 2 TV satellite et chais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ongu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inimum et 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s 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F - l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anquette-lit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standard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v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25 m² - type G, minimum et 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ossibil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dividuell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standard - type A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ieu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C). Pas de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éb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ossibl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doubles avec un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es quadrup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ccup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4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ersonn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Le site grandiose
Sa piscin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ag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e restaurant principal avec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anoramique</a:t>
            </a:r>
            <a:endParaRPr sz="12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restauration que vous aim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Le restaurant principal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gust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eti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jeu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în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auto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buffets, tout en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rofita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panoramiq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Atlantiq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
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"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Tasca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" (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avec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ouver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été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endr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hiv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endr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amedi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éguste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tapas et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pécialités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locales</a:t>
            </a:r>
            <a:r>
              <a:rPr lang="fr-FR" sz="140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
</a:t>
            </a:r>
            <a:endParaRPr lang="fr-FR" sz="14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i="0" u="none" strike="noStrike" dirty="0" smtClean="0">
                <a:solidFill>
                  <a:srgbClr val="6C6F70"/>
                </a:solidFill>
                <a:latin typeface="Calibri"/>
              </a:rPr>
              <a:t>1 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snack à la piscine avec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l'île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Gomera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 4 bars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dont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 1 bar-piscine et 1 bar à tapas le </a:t>
            </a:r>
            <a:r>
              <a:rPr sz="1400" i="0" u="none" strike="noStrike" dirty="0" err="1">
                <a:solidFill>
                  <a:srgbClr val="6C6F70"/>
                </a:solidFill>
                <a:latin typeface="Calibri"/>
              </a:rPr>
              <a:t>soir</a:t>
            </a:r>
            <a:r>
              <a:rPr sz="14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23" name="Picture 22" descr="D:\Doc\ELDO\sant1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7775" y="3466275"/>
            <a:ext cx="4050000" cy="269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5" descr="D:\Doc\ELDO\sant5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Prêt de serviettes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caution). 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Blanchisser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salon de coiffure, boutique e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éret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Internet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0 minutes par jour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Activités sportives (détail sur </a:t>
            </a:r>
            <a:r>
              <a:rPr lang="fr-FR" sz="1600" b="0" i="0" u="none" strike="noStrike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 dédié)</a:t>
            </a:r>
            <a:endParaRPr sz="1600" b="0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5" name="Picture 13" descr="D:\Doc\ELDO\sant3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80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040" name="Picture 16" descr="D:\Doc\ELDO\sant6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6287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23" descr="D:\Doc\ELDO\sant2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La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amil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d'abord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20000"/>
          </a:bodyPr>
          <a:lstStyle/>
          <a:p>
            <a:pPr marL="0" marR="0" lvl="0" indent="0" algn="just" fontAlgn="base"/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équip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cueill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6j/7 de 9h à 17h30 avec u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haqu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tranch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’âg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Petit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3-4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Min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4-6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Maxi </a:t>
            </a:r>
            <a:r>
              <a:rPr lang="fr-FR" sz="1200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(7-10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chasse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résor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Olympiad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réa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musica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..) et en soirée (mini disco, spectacles, soirée VIP…).</a:t>
            </a:r>
            <a:r>
              <a:rPr dirty="0"/>
              <a:t/>
            </a:r>
            <a:br>
              <a:rPr dirty="0"/>
            </a:b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imate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onnent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RDV aux Teens (11 à 13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et aux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14 à 17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) au Studio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6j/7 de 10h à 18h pendant les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: de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Internet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vidéo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et Wii, baby-foot, séance shooting photos, body painting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i="0" u="none" strike="noStrike" dirty="0" err="1">
                <a:solidFill>
                  <a:srgbClr val="6C6F70"/>
                </a:solidFill>
                <a:latin typeface="Calibri"/>
              </a:rPr>
              <a:t>cours</a:t>
            </a:r>
            <a:r>
              <a:rPr sz="1200" i="0" u="none" strike="noStrike" dirty="0">
                <a:solidFill>
                  <a:srgbClr val="6C6F70"/>
                </a:solidFill>
                <a:latin typeface="Calibri"/>
              </a:rPr>
              <a:t> de cuisine, et en soirée (cocktail VIP, participation au spectacle …)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la famille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Le club dispose de chambres doubles avec lit supplémentaire ou chambres quadruples, les familles pourront ainsi profiter d’un bon confort et de structures dédiées aux enfants.</a:t>
            </a:r>
          </a:p>
        </p:txBody>
      </p:sp>
      <p:pic>
        <p:nvPicPr>
          <p:cNvPr id="3074" name="Picture 2" descr="D:\DavidKierkegaard\20151104 Fiches logotés JT\asset.3d29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28"/>
          <a:stretch/>
        </p:blipFill>
        <p:spPr bwMode="auto">
          <a:xfrm>
            <a:off x="239729" y="152400"/>
            <a:ext cx="2862882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DavidKierkegaard\20151104 Fiches logotés JT\Image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50" y="3469896"/>
            <a:ext cx="4048125" cy="269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20" name="Image 19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817775" y="3466275"/>
            <a:ext cx="4050000" cy="2696400"/>
          </a:xfrm>
          <a:prstGeom prst="rect">
            <a:avLst/>
          </a:prstGeom>
        </p:spPr>
      </p:pic>
      <p:pic>
        <p:nvPicPr>
          <p:cNvPr id="16" name="Picture 20" descr="D:\Doc\ELDO\sant10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23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algn="just" fontAlgn="base"/>
            <a:r>
              <a:rPr lang="fr-FR" sz="1200" b="1" dirty="0">
                <a:solidFill>
                  <a:srgbClr val="6C6F70"/>
                </a:solidFill>
                <a:latin typeface="Calibri"/>
              </a:rPr>
              <a:t>Sports et </a:t>
            </a:r>
            <a:r>
              <a:rPr lang="fr-FR" sz="1200" b="1" dirty="0" smtClean="0">
                <a:solidFill>
                  <a:srgbClr val="6C6F70"/>
                </a:solidFill>
                <a:latin typeface="Calibri"/>
              </a:rPr>
              <a:t>loisirs:</a:t>
            </a:r>
          </a:p>
          <a:p>
            <a:pPr algn="just" fontAlgn="base"/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3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piscines dont 1 chauffée et 1 à débordement, 1 bain à remous.</a:t>
            </a:r>
            <a:br>
              <a:rPr lang="fr-FR" sz="1200" dirty="0">
                <a:solidFill>
                  <a:srgbClr val="6C6F70"/>
                </a:solidFill>
                <a:latin typeface="Calibri"/>
              </a:rPr>
            </a:br>
            <a:r>
              <a:rPr lang="fr-FR" sz="1200" dirty="0">
                <a:solidFill>
                  <a:srgbClr val="6C6F70"/>
                </a:solidFill>
                <a:latin typeface="Calibri"/>
              </a:rPr>
              <a:t>Chaque jour, un programme de sports et d’activités à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découvrir! Salle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de remise en forme, aérobic, tennis de table, aquagym, tir à l'arc et à la carabine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 Egalement: tennis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billard (</a:t>
            </a:r>
            <a:r>
              <a:rPr lang="fr-FR" sz="1200" dirty="0">
                <a:solidFill>
                  <a:srgbClr val="6C6F70"/>
                </a:solidFill>
              </a:rPr>
              <a:t>Avec </a:t>
            </a:r>
            <a:r>
              <a:rPr lang="fr-FR" sz="1200" dirty="0" smtClean="0">
                <a:solidFill>
                  <a:srgbClr val="6C6F70"/>
                </a:solidFill>
              </a:rPr>
              <a:t>participation)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</a:t>
            </a:r>
          </a:p>
          <a:p>
            <a:pPr algn="just" fontAlgn="base"/>
            <a:r>
              <a:rPr lang="fr-FR" sz="1200" b="1" smtClean="0">
                <a:solidFill>
                  <a:srgbClr val="6C6F70"/>
                </a:solidFill>
                <a:latin typeface="Calibri"/>
              </a:rPr>
              <a:t>Les Jet </a:t>
            </a:r>
            <a:r>
              <a:rPr lang="fr-FR" sz="1200" b="1" dirty="0" err="1">
                <a:solidFill>
                  <a:srgbClr val="6C6F70"/>
                </a:solidFill>
                <a:latin typeface="Calibri"/>
              </a:rPr>
              <a:t>Schools</a:t>
            </a:r>
            <a:r>
              <a:rPr lang="fr-FR" sz="1200" b="1" dirty="0">
                <a:solidFill>
                  <a:srgbClr val="6C6F70"/>
                </a:solidFill>
                <a:latin typeface="Calibri"/>
              </a:rPr>
              <a:t> :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 </a:t>
            </a:r>
            <a:endParaRPr lang="fr-FR" sz="1200" dirty="0" smtClean="0">
              <a:solidFill>
                <a:srgbClr val="6C6F70"/>
              </a:solidFill>
              <a:latin typeface="Calibri"/>
            </a:endParaRPr>
          </a:p>
          <a:p>
            <a:pPr algn="just" fontAlgn="base"/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Vos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cours collectifs de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sport. Pour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découvrir ou vous perfectionner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au </a:t>
            </a:r>
            <a:r>
              <a:rPr lang="fr-FR" sz="1200" dirty="0" err="1" smtClean="0">
                <a:solidFill>
                  <a:srgbClr val="6C6F70"/>
                </a:solidFill>
                <a:latin typeface="Calibri"/>
              </a:rPr>
              <a:t>step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body </a:t>
            </a:r>
            <a:r>
              <a:rPr lang="fr-FR" sz="1200" dirty="0" err="1">
                <a:solidFill>
                  <a:srgbClr val="6C6F70"/>
                </a:solidFill>
                <a:latin typeface="Calibri"/>
              </a:rPr>
              <a:t>sculpt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200" dirty="0" err="1">
                <a:solidFill>
                  <a:srgbClr val="6C6F70"/>
                </a:solidFill>
                <a:latin typeface="Calibri"/>
              </a:rPr>
              <a:t>abdofessiers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... Jeux collectifs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Basket-ball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volley-ball, terrain omnisports.</a:t>
            </a:r>
            <a:endParaRPr sz="1200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de l'animation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Venez vous détendre autour de la piscine dédiée au calme, au Spa ou à la terrasse du bar avec fond musical...</a:t>
            </a:r>
            <a:r>
              <a:t/>
            </a:r>
            <a:br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La piste de danse au moment de l’apéritif, spectacles, soirée dansante, soirée jeux.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18" name="Picture 17" descr="D:\Doc\ELDO\sant7.jpg"/>
          <p:cNvPicPr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562225"/>
            <a:ext cx="871537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excursions :</a:t>
            </a:r>
          </a:p>
        </p:txBody>
      </p:sp>
      <p:pic>
        <p:nvPicPr>
          <p:cNvPr id="14" name="Picture 18" descr="D:\Doc\ELDO\sant8.jpg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Santiago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 dirty="0"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tr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ormu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tout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compri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 </a:t>
            </a:r>
          </a:p>
          <a:p>
            <a:pPr lvl="0" algn="just" fontAlgn="base"/>
            <a:r>
              <a:rPr lang="fr-FR" sz="1400" dirty="0" smtClean="0">
                <a:solidFill>
                  <a:srgbClr val="6C6F70"/>
                </a:solidFill>
              </a:rPr>
              <a:t>Petit déjeuner tardif jusqu'à 10h30. Déjeuners et dîners (buffets) au restaurant principal. Buffet à thème 2 fois par semaine. Snacks de 10h30 à 13h et de 15h à 18h30. Gâteaux de 15h à 18h</a:t>
            </a:r>
          </a:p>
          <a:p>
            <a:pPr lvl="0" algn="just" fontAlgn="base"/>
            <a:endParaRPr lang="fr-FR" sz="1400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 </a:t>
            </a:r>
          </a:p>
          <a:p>
            <a:pPr lvl="0" algn="just" fontAlgn="base"/>
            <a:r>
              <a:rPr lang="fr-FR" sz="1400" dirty="0" smtClean="0">
                <a:solidFill>
                  <a:srgbClr val="6C6F70"/>
                </a:solidFill>
              </a:rPr>
              <a:t>Boissons incluses pendant les repas : eau, soda, jus de fruits, vin et bière. Sélection de boissons locales avec ou sans alcool de 10h à 23h au bar central. Café de 10h à 23h.</a:t>
            </a:r>
          </a:p>
          <a:p>
            <a:pPr lvl="0" algn="just" fontAlgn="base"/>
            <a:endParaRPr lang="fr-FR" sz="1400" dirty="0" smtClean="0"/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Sports &amp; loisirs: </a:t>
            </a:r>
            <a:r>
              <a:rPr lang="fr-FR" sz="1400" dirty="0" smtClean="0">
                <a:solidFill>
                  <a:srgbClr val="6C6F70"/>
                </a:solidFill>
              </a:rPr>
              <a:t>large choix d’activités (voir </a:t>
            </a:r>
            <a:r>
              <a:rPr lang="fr-FR" sz="1400" dirty="0" err="1" smtClean="0">
                <a:solidFill>
                  <a:srgbClr val="6C6F70"/>
                </a:solidFill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</a:rPr>
              <a:t> dédiée).</a:t>
            </a: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Accès aux clubs: </a:t>
            </a:r>
            <a:r>
              <a:rPr lang="fr-FR" sz="1400" dirty="0" smtClean="0">
                <a:solidFill>
                  <a:srgbClr val="6C6F70"/>
                </a:solidFill>
              </a:rPr>
              <a:t>pour les enfants &amp; ados</a:t>
            </a:r>
            <a:endParaRPr lang="fr-FR" sz="1400" b="1" dirty="0" smtClean="0">
              <a:solidFill>
                <a:srgbClr val="6C6F7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335020" y="2432124"/>
            <a:ext cx="1417637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fontAlgn="base"/>
            <a:r>
              <a:rPr lang="fr-FR" sz="1700" b="1" dirty="0" smtClean="0">
                <a:solidFill>
                  <a:srgbClr val="B91B62"/>
                </a:solidFill>
                <a:latin typeface="+mj-lt"/>
              </a:rPr>
              <a:t>Notre</a:t>
            </a:r>
            <a:r>
              <a:rPr lang="fr-FR" sz="1800" b="1" i="0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lang="fr-FR" sz="1700" b="1" dirty="0" smtClean="0">
                <a:solidFill>
                  <a:srgbClr val="B91B62"/>
                </a:solidFill>
                <a:latin typeface="+mj-lt"/>
              </a:rPr>
              <a:t>tarif</a:t>
            </a:r>
            <a:r>
              <a:rPr lang="fr-FR" sz="1800" b="1" i="0" strike="noStrike" dirty="0" smtClean="0">
                <a:solidFill>
                  <a:srgbClr val="B91B62"/>
                </a:solidFill>
                <a:latin typeface="+mj-lt"/>
              </a:rPr>
              <a:t> :</a:t>
            </a:r>
          </a:p>
          <a:p>
            <a:pPr marL="0" marR="0" lvl="0" indent="0" fontAlgn="base"/>
            <a:endParaRPr sz="1800" b="1" i="0" strike="noStrike" dirty="0">
              <a:solidFill>
                <a:srgbClr val="B91B62"/>
              </a:solidFill>
              <a:latin typeface="+mj-lt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38125" y="2851219"/>
            <a:ext cx="4267200" cy="3530532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20000"/>
          </a:bodyPr>
          <a:lstStyle/>
          <a:p>
            <a:pPr marL="0" marR="0" lvl="0" indent="0" algn="ctr" fontAlgn="base"/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 088 </a:t>
            </a:r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€ ttc / adulte</a:t>
            </a:r>
          </a:p>
          <a:p>
            <a:pPr marL="0" marR="0" lvl="0" indent="0" algn="ctr" fontAlgn="base"/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-50</a:t>
            </a:r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% pour les enfants (2 à 12 ans inclus</a:t>
            </a:r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0" marR="0" lvl="0" indent="0" algn="ctr" fontAlgn="base"/>
            <a:endParaRPr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rix de bas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group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: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 20 personnes</a:t>
            </a:r>
            <a:endParaRPr sz="1400" b="0" i="0" u="none" strike="noStrike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dirty="0"/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sng" strike="noStrike" dirty="0">
                <a:solidFill>
                  <a:srgbClr val="6C6F70"/>
                </a:solidFill>
                <a:latin typeface="Calibri"/>
              </a:rPr>
              <a:t>Ce prix </a:t>
            </a:r>
            <a:r>
              <a:rPr sz="1400" b="0" i="0" u="sng" strike="noStrike" dirty="0" err="1">
                <a:solidFill>
                  <a:srgbClr val="6C6F70"/>
                </a:solidFill>
                <a:latin typeface="Calibri"/>
              </a:rPr>
              <a:t>comprend</a:t>
            </a:r>
            <a:r>
              <a:rPr sz="1400" b="0" i="0" u="sng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sng" strike="noStrike" dirty="0" smtClean="0">
                <a:solidFill>
                  <a:srgbClr val="6C6F70"/>
                </a:solidFill>
                <a:latin typeface="Calibri"/>
              </a:rPr>
              <a:t>: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/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 transpor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ien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lle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retour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vol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s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spécia</a:t>
            </a:r>
            <a:r>
              <a:rPr lang="fr-FR" sz="1400" b="0" i="0" u="none" strike="noStrike" dirty="0" err="1" smtClean="0">
                <a:solidFill>
                  <a:srgbClr val="6C6F70"/>
                </a:solidFill>
                <a:latin typeface="Calibri"/>
              </a:rPr>
              <a:t>ux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,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transfert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–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hôte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–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oge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appartement 1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chambre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,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formule all-inclusive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ccuei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ssistance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place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accè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aux services et infrastructures d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l’hôtel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auf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restation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facultativ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les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tax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’aéropor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taxes de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ûreté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edevanc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assager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.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>
              <a:buFont typeface="Calibri"/>
              <a:buChar char="•"/>
            </a:pPr>
            <a:r>
              <a:rPr sz="1400" b="0" i="0" u="sng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sng" strike="noStrike" dirty="0" err="1">
                <a:solidFill>
                  <a:srgbClr val="6C6F70"/>
                </a:solidFill>
                <a:latin typeface="Calibri"/>
              </a:rPr>
              <a:t>Ce</a:t>
            </a:r>
            <a:r>
              <a:rPr sz="1400" b="0" i="0" u="sng" strike="noStrike" dirty="0">
                <a:solidFill>
                  <a:srgbClr val="6C6F70"/>
                </a:solidFill>
                <a:latin typeface="Calibri"/>
              </a:rPr>
              <a:t> prix ne </a:t>
            </a:r>
            <a:r>
              <a:rPr sz="1400" b="0" i="0" u="sng" strike="noStrike" dirty="0" err="1">
                <a:solidFill>
                  <a:srgbClr val="6C6F70"/>
                </a:solidFill>
                <a:latin typeface="Calibri"/>
              </a:rPr>
              <a:t>comprends</a:t>
            </a:r>
            <a:r>
              <a:rPr sz="1400" b="0" i="0" u="sng" strike="noStrike" dirty="0">
                <a:solidFill>
                  <a:srgbClr val="6C6F70"/>
                </a:solidFill>
                <a:latin typeface="Calibri"/>
              </a:rPr>
              <a:t> pas :</a:t>
            </a:r>
            <a:r>
              <a:rPr dirty="0"/>
              <a:t/>
            </a:r>
            <a:br>
              <a:rPr dirty="0"/>
            </a:br>
            <a:endParaRPr dirty="0"/>
          </a:p>
          <a:p>
            <a:pPr marL="0" marR="0" lvl="0" indent="0" algn="l" fontAlgn="base"/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s assurances annulation,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rapatriement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bagag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supplément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boissons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 hors all-inclusive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,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les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dépens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0" i="0" u="none" strike="noStrike" dirty="0" err="1">
                <a:solidFill>
                  <a:srgbClr val="6C6F70"/>
                </a:solidFill>
                <a:latin typeface="Calibri"/>
              </a:rPr>
              <a:t>personnelles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, les pourboires, les </a:t>
            </a:r>
            <a:r>
              <a:rPr lang="fr-FR" sz="1400" b="0" i="0" u="none" strike="noStrike" dirty="0" smtClean="0">
                <a:solidFill>
                  <a:srgbClr val="6C6F70"/>
                </a:solidFill>
                <a:latin typeface="Calibri"/>
              </a:rPr>
              <a:t> éventuelles 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taxes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0" i="0" u="none" strike="noStrike" dirty="0" err="1" smtClean="0">
                <a:solidFill>
                  <a:srgbClr val="6C6F70"/>
                </a:solidFill>
                <a:latin typeface="Calibri"/>
              </a:rPr>
              <a:t>séjour</a:t>
            </a:r>
            <a:r>
              <a:rPr sz="1400" b="0" i="0" u="none" strike="noStrike" dirty="0" smtClean="0">
                <a:solidFill>
                  <a:srgbClr val="6C6F70"/>
                </a:solidFill>
                <a:latin typeface="Calibri"/>
              </a:rPr>
              <a:t>, les </a:t>
            </a:r>
            <a:r>
              <a:rPr sz="1400" b="0" i="0" u="none" strike="noStrike" dirty="0">
                <a:solidFill>
                  <a:srgbClr val="6C6F70"/>
                </a:solidFill>
                <a:latin typeface="Calibri"/>
              </a:rPr>
              <a:t>excursion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sp>
        <p:nvSpPr>
          <p:cNvPr id="7" name="ZoneTexte 6"/>
          <p:cNvSpPr txBox="1"/>
          <p:nvPr/>
        </p:nvSpPr>
        <p:spPr>
          <a:xfrm>
            <a:off x="246856" y="2302728"/>
            <a:ext cx="8648700" cy="830997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2400" b="1" i="0" u="none" strike="noStrike" dirty="0" err="1">
                <a:solidFill>
                  <a:srgbClr val="7E7E7E"/>
                </a:solidFill>
              </a:rPr>
              <a:t>Votre</a:t>
            </a:r>
            <a:r>
              <a:rPr sz="2400" b="1" i="0" u="none" strike="noStrike" dirty="0">
                <a:solidFill>
                  <a:srgbClr val="7E7E7E"/>
                </a:solidFill>
              </a:rPr>
              <a:t> contact commercial</a:t>
            </a:r>
            <a:r>
              <a:rPr dirty="0"/>
              <a:t/>
            </a:r>
            <a:br>
              <a:rPr dirty="0"/>
            </a:br>
            <a:endParaRPr sz="2400" b="1" i="0" u="none" strike="noStrike" dirty="0">
              <a:solidFill>
                <a:srgbClr val="7E7E7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600075" y="3133725"/>
            <a:ext cx="7915275" cy="1847850"/>
          </a:xfrm>
          <a:prstGeom prst="rect">
            <a:avLst/>
          </a:prstGeom>
          <a:ln w="12700" cap="flat" cmpd="sng" algn="ctr">
            <a:solidFill>
              <a:srgbClr val="7E7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ctr" fontAlgn="base"/>
            <a:r>
              <a:rPr dirty="0"/>
              <a:t/>
            </a:r>
            <a:br>
              <a:rPr dirty="0"/>
            </a:br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rystelle Hamel</a:t>
            </a:r>
            <a: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fr-FR" sz="1200" b="1" i="0" u="none" strike="noStrik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amel@jettours.com</a:t>
            </a:r>
            <a: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fr-FR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6 72 03 11 09</a:t>
            </a:r>
            <a:endParaRPr sz="1200" b="1" i="0" u="none" strike="noStrike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425" y="2971800"/>
            <a:ext cx="157956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re 1"/>
          <p:cNvSpPr txBox="1">
            <a:spLocks/>
          </p:cNvSpPr>
          <p:nvPr/>
        </p:nvSpPr>
        <p:spPr bwMode="auto">
          <a:xfrm>
            <a:off x="-68932" y="975713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Santiago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141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6</Words>
  <Application>Microsoft Office PowerPoint</Application>
  <PresentationFormat>Affichage à l'écran (4:3)</PresentationFormat>
  <Paragraphs>61</Paragraphs>
  <Slides>9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Willemot, Laurene</cp:lastModifiedBy>
  <cp:revision>18</cp:revision>
  <dcterms:created xsi:type="dcterms:W3CDTF">2015-03-10T14:13:28Z</dcterms:created>
  <dcterms:modified xsi:type="dcterms:W3CDTF">2016-03-04T11:33:26Z</dcterms:modified>
  <cp:category>PowerPoint</cp:category>
</cp:coreProperties>
</file>